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trictFirstAndLastChars="0" saveSubsetFonts="1">
  <p:sldMasterIdLst>
    <p:sldMasterId id="2147483650" r:id="rId1"/>
  </p:sldMasterIdLst>
  <p:notesMasterIdLst>
    <p:notesMasterId r:id="rId3"/>
  </p:notesMasterIdLst>
  <p:handoutMasterIdLst>
    <p:handoutMasterId r:id="rId4"/>
  </p:handoutMasterIdLst>
  <p:sldIdLst>
    <p:sldId id="257" r:id="rId2"/>
  </p:sldIdLst>
  <p:sldSz cx="11949113" cy="6721475"/>
  <p:notesSz cx="7099300" cy="10234613"/>
  <p:custDataLst>
    <p:tags r:id="rId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6759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3530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0294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7055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3820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0584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197347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4112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17" userDrawn="1">
          <p15:clr>
            <a:srgbClr val="A4A3A4"/>
          </p15:clr>
        </p15:guide>
        <p15:guide id="2" pos="37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C2D8"/>
    <a:srgbClr val="B1C6DB"/>
    <a:srgbClr val="CCDAE8"/>
    <a:srgbClr val="080808"/>
    <a:srgbClr val="F1F5F9"/>
    <a:srgbClr val="E1E9F1"/>
    <a:srgbClr val="808080"/>
    <a:srgbClr val="C30C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4779" autoAdjust="0"/>
    <p:restoredTop sz="94799" autoAdjust="0"/>
  </p:normalViewPr>
  <p:slideViewPr>
    <p:cSldViewPr snapToGrid="0">
      <p:cViewPr varScale="1">
        <p:scale>
          <a:sx n="107" d="100"/>
          <a:sy n="107" d="100"/>
        </p:scale>
        <p:origin x="-84" y="-738"/>
      </p:cViewPr>
      <p:guideLst>
        <p:guide orient="horz" pos="2117"/>
        <p:guide pos="37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-2142" y="-72"/>
      </p:cViewPr>
      <p:guideLst>
        <p:guide orient="horz" pos="3224"/>
        <p:guide pos="223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4988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F5803AF6-863C-4E79-B0E4-DA9EF3C26513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16160561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7099300" cy="31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3588"/>
            <a:ext cx="6829425" cy="3843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7738" y="4865688"/>
            <a:ext cx="5203825" cy="4605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zh-TW" noProof="0" smtClean="0"/>
              <a:t>Click to edit Master text styles</a:t>
            </a:r>
          </a:p>
          <a:p>
            <a:pPr lvl="1"/>
            <a:r>
              <a:rPr lang="de-DE" altLang="zh-TW" noProof="0" smtClean="0"/>
              <a:t>Second level</a:t>
            </a:r>
          </a:p>
          <a:p>
            <a:pPr lvl="2"/>
            <a:r>
              <a:rPr lang="de-DE" altLang="zh-TW" noProof="0" smtClean="0"/>
              <a:t>Third level</a:t>
            </a:r>
          </a:p>
          <a:p>
            <a:pPr lvl="3"/>
            <a:r>
              <a:rPr lang="de-DE" altLang="zh-TW" noProof="0" smtClean="0"/>
              <a:t>Fourth level</a:t>
            </a:r>
          </a:p>
          <a:p>
            <a:pPr lvl="4"/>
            <a:r>
              <a:rPr lang="de-DE" altLang="zh-TW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733C40E2-8272-4AE7-AB34-08FFCFB9342A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318986418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675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353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029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705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3820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584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347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112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6951743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banner_hom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" y="2169432"/>
            <a:ext cx="6969138" cy="2382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7135" name="Rectangle 47"/>
          <p:cNvSpPr>
            <a:spLocks noGrp="1" noChangeArrowheads="1"/>
          </p:cNvSpPr>
          <p:nvPr>
            <p:ph type="ctrTitle" sz="quarter"/>
          </p:nvPr>
        </p:nvSpPr>
        <p:spPr>
          <a:xfrm>
            <a:off x="6969780" y="3644467"/>
            <a:ext cx="4979347" cy="907576"/>
          </a:xfrm>
        </p:spPr>
        <p:txBody>
          <a:bodyPr/>
          <a:lstStyle>
            <a:lvl1pPr algn="l">
              <a:defRPr sz="2400" b="0"/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18071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95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A64B81-DDF4-4C7E-9C3D-A4C47BE53E6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352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14" y="3"/>
            <a:ext cx="10429861" cy="57626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179828" tIns="44725" rIns="179828" bIns="447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dirty="0" smtClean="0"/>
              <a:t>ACTION TITLE</a:t>
            </a:r>
          </a:p>
        </p:txBody>
      </p:sp>
      <p:sp>
        <p:nvSpPr>
          <p:cNvPr id="216159" name="Rectangle 9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55705" y="6348413"/>
            <a:ext cx="1693408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450" tIns="44725" rIns="89450" bIns="44725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90000"/>
              </a:lnSpc>
              <a:spcBef>
                <a:spcPct val="0"/>
              </a:spcBef>
              <a:defRPr sz="16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BE92BC5-E33B-412F-87DB-DE8801275F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Line 1129"/>
          <p:cNvSpPr>
            <a:spLocks noChangeShapeType="1"/>
          </p:cNvSpPr>
          <p:nvPr/>
        </p:nvSpPr>
        <p:spPr bwMode="auto">
          <a:xfrm>
            <a:off x="0" y="6348413"/>
            <a:ext cx="11949113" cy="0"/>
          </a:xfrm>
          <a:prstGeom prst="line">
            <a:avLst/>
          </a:prstGeom>
          <a:noFill/>
          <a:ln w="38100">
            <a:solidFill>
              <a:srgbClr val="92D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119891" tIns="62344" rIns="119891" bIns="62344" anchor="ctr">
            <a:spAutoFit/>
          </a:bodyPr>
          <a:lstStyle/>
          <a:p>
            <a:endParaRPr lang="en-US" sz="3200"/>
          </a:p>
        </p:txBody>
      </p:sp>
      <p:graphicFrame>
        <p:nvGraphicFramePr>
          <p:cNvPr id="1030" name="Rectangle 2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8523327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0" y="703263"/>
            <a:ext cx="11949113" cy="564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79828" tIns="35967" rIns="179828" bIns="456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4176" y="131619"/>
            <a:ext cx="1290638" cy="30826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37" r:id="rId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2pPr>
      <a:lvl3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3pPr>
      <a:lvl4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4pPr>
      <a:lvl5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5pPr>
      <a:lvl6pPr marL="609073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6pPr>
      <a:lvl7pPr marL="121816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7pPr>
      <a:lvl8pPr marL="182724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8pPr>
      <a:lvl9pPr marL="2436316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9pPr>
    </p:titleStyle>
    <p:bodyStyle>
      <a:lvl1pPr marL="0" indent="0"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243209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–"/>
        <a:defRPr sz="1800">
          <a:solidFill>
            <a:schemeClr val="tx1"/>
          </a:solidFill>
          <a:latin typeface="+mn-lt"/>
        </a:defRPr>
      </a:lvl2pPr>
      <a:lvl3pPr marL="471614" indent="-228405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•"/>
        <a:defRPr sz="1800">
          <a:solidFill>
            <a:schemeClr val="tx1"/>
          </a:solidFill>
          <a:latin typeface="+mn-lt"/>
        </a:defRPr>
      </a:lvl3pPr>
      <a:lvl4pPr marL="714822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▫"/>
        <a:defRPr sz="1800">
          <a:solidFill>
            <a:schemeClr val="tx1"/>
          </a:solidFill>
          <a:latin typeface="+mn-lt"/>
        </a:defRPr>
      </a:lvl4pPr>
      <a:lvl5pPr marL="958033" indent="-243209" algn="l" defTabSz="958033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▪"/>
        <a:defRPr sz="1800">
          <a:solidFill>
            <a:schemeClr val="tx1"/>
          </a:solidFill>
          <a:latin typeface="+mn-lt"/>
        </a:defRPr>
      </a:lvl5pPr>
      <a:lvl6pPr marL="1355628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6pPr>
      <a:lvl7pPr marL="196470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7pPr>
      <a:lvl8pPr marL="2573783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8pPr>
      <a:lvl9pPr marL="318286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73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6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24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31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99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47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55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63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image" Target="../media/image3.emf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oleObject" Target="../embeddings/oleObject3.bin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slideLayout" Target="../slideLayouts/slideLayout2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image" Target="../media/image4.emf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272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5" name="think-cell Slide" r:id="rId25" imgW="383" imgH="385" progId="TCLayout.ActiveDocument.1">
                  <p:embed/>
                </p:oleObj>
              </mc:Choice>
              <mc:Fallback>
                <p:oleObj name="think-cell Slide" r:id="rId25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-61197" y="-64831"/>
            <a:ext cx="281145" cy="288413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lnSpc>
                <a:spcPct val="90000"/>
              </a:lnSpc>
            </a:pPr>
            <a:endParaRPr kumimoji="0" lang="en-US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aterfall Char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A64B81-DDF4-4C7E-9C3D-A4C47BE53E61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  <p:cxnSp>
        <p:nvCxnSpPr>
          <p:cNvPr id="60" name="Straight Connector 59"/>
          <p:cNvCxnSpPr/>
          <p:nvPr>
            <p:custDataLst>
              <p:tags r:id="rId4"/>
            </p:custDataLst>
          </p:nvPr>
        </p:nvCxnSpPr>
        <p:spPr bwMode="auto">
          <a:xfrm>
            <a:off x="6229350" y="4010025"/>
            <a:ext cx="400050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1" name="Straight Connector 60"/>
          <p:cNvCxnSpPr/>
          <p:nvPr>
            <p:custDataLst>
              <p:tags r:id="rId5"/>
            </p:custDataLst>
          </p:nvPr>
        </p:nvCxnSpPr>
        <p:spPr bwMode="auto">
          <a:xfrm>
            <a:off x="8915400" y="3571875"/>
            <a:ext cx="400050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2" name="Straight Connector 61"/>
          <p:cNvCxnSpPr/>
          <p:nvPr>
            <p:custDataLst>
              <p:tags r:id="rId6"/>
            </p:custDataLst>
          </p:nvPr>
        </p:nvCxnSpPr>
        <p:spPr bwMode="auto">
          <a:xfrm>
            <a:off x="7124700" y="4010025"/>
            <a:ext cx="400050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3" name="Straight Connector 62"/>
          <p:cNvCxnSpPr/>
          <p:nvPr>
            <p:custDataLst>
              <p:tags r:id="rId7"/>
            </p:custDataLst>
          </p:nvPr>
        </p:nvCxnSpPr>
        <p:spPr bwMode="auto">
          <a:xfrm>
            <a:off x="3533775" y="1619250"/>
            <a:ext cx="400050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4" name="Straight Connector 63"/>
          <p:cNvCxnSpPr/>
          <p:nvPr>
            <p:custDataLst>
              <p:tags r:id="rId8"/>
            </p:custDataLst>
          </p:nvPr>
        </p:nvCxnSpPr>
        <p:spPr bwMode="auto">
          <a:xfrm>
            <a:off x="5324475" y="2733675"/>
            <a:ext cx="528638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5" name="Straight Connector 64"/>
          <p:cNvCxnSpPr/>
          <p:nvPr>
            <p:custDataLst>
              <p:tags r:id="rId9"/>
            </p:custDataLst>
          </p:nvPr>
        </p:nvCxnSpPr>
        <p:spPr bwMode="auto">
          <a:xfrm>
            <a:off x="6100763" y="2733675"/>
            <a:ext cx="3214687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6" name="Straight Connector 65"/>
          <p:cNvCxnSpPr/>
          <p:nvPr>
            <p:custDataLst>
              <p:tags r:id="rId10"/>
            </p:custDataLst>
          </p:nvPr>
        </p:nvCxnSpPr>
        <p:spPr bwMode="auto">
          <a:xfrm>
            <a:off x="3533775" y="2057400"/>
            <a:ext cx="2190750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7" name="Straight Connector 66"/>
          <p:cNvCxnSpPr/>
          <p:nvPr>
            <p:custDataLst>
              <p:tags r:id="rId11"/>
            </p:custDataLst>
          </p:nvPr>
        </p:nvCxnSpPr>
        <p:spPr bwMode="auto">
          <a:xfrm>
            <a:off x="2638425" y="3076575"/>
            <a:ext cx="400050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8" name="Straight Connector 67"/>
          <p:cNvCxnSpPr/>
          <p:nvPr>
            <p:custDataLst>
              <p:tags r:id="rId12"/>
            </p:custDataLst>
          </p:nvPr>
        </p:nvCxnSpPr>
        <p:spPr bwMode="auto">
          <a:xfrm>
            <a:off x="4429125" y="2733675"/>
            <a:ext cx="400050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Straight Connector 68"/>
          <p:cNvCxnSpPr/>
          <p:nvPr>
            <p:custDataLst>
              <p:tags r:id="rId13"/>
            </p:custDataLst>
          </p:nvPr>
        </p:nvCxnSpPr>
        <p:spPr bwMode="auto">
          <a:xfrm>
            <a:off x="8020050" y="3800475"/>
            <a:ext cx="400050" cy="0"/>
          </a:xfrm>
          <a:prstGeom prst="line">
            <a:avLst/>
          </a:prstGeom>
          <a:noFill/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70" name="Object 69"/>
          <p:cNvGraphicFramePr>
            <a:graphicFrameLocks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89766701"/>
              </p:ext>
            </p:extLst>
          </p:nvPr>
        </p:nvGraphicFramePr>
        <p:xfrm>
          <a:off x="1828800" y="1524000"/>
          <a:ext cx="8277387" cy="42766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6" name="Chart" r:id="rId27" imgW="8277387" imgH="4276697" progId="MSGraph.Chart.8">
                  <p:embed followColorScheme="full"/>
                </p:oleObj>
              </mc:Choice>
              <mc:Fallback>
                <p:oleObj name="Chart" r:id="rId27" imgW="8277387" imgH="427669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828800" y="1524000"/>
                        <a:ext cx="8277387" cy="427669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Straight Connector 70"/>
          <p:cNvCxnSpPr/>
          <p:nvPr>
            <p:custDataLst>
              <p:tags r:id="rId15"/>
            </p:custDataLst>
          </p:nvPr>
        </p:nvCxnSpPr>
        <p:spPr bwMode="auto">
          <a:xfrm>
            <a:off x="2390775" y="1158875"/>
            <a:ext cx="2686050" cy="0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2" name="Straight Connector 71"/>
          <p:cNvCxnSpPr/>
          <p:nvPr>
            <p:custDataLst>
              <p:tags r:id="rId16"/>
            </p:custDataLst>
          </p:nvPr>
        </p:nvCxnSpPr>
        <p:spPr bwMode="auto">
          <a:xfrm>
            <a:off x="5076825" y="1158875"/>
            <a:ext cx="0" cy="1298575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73" name="Straight Connector 72"/>
          <p:cNvCxnSpPr/>
          <p:nvPr>
            <p:custDataLst>
              <p:tags r:id="rId17"/>
            </p:custDataLst>
          </p:nvPr>
        </p:nvCxnSpPr>
        <p:spPr bwMode="auto">
          <a:xfrm flipV="1">
            <a:off x="2390775" y="1158875"/>
            <a:ext cx="0" cy="1641475"/>
          </a:xfrm>
          <a:prstGeom prst="line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Text Placeholder 44"/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3409950" y="1022350"/>
            <a:ext cx="649288" cy="2730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18AD3A86-3EAA-41D2-84D2-B62EEB2626A3}" type="datetime'''''''''''''''''''''''''+''''1''3''''''''''''''''''''%'''">
              <a:rPr lang="en-US" sz="1400"/>
              <a:pPr/>
              <a:t>+13%</a:t>
            </a:fld>
            <a:endParaRPr lang="en-US" sz="1400" kern="0" dirty="0">
              <a:sym typeface="+mn-lt"/>
            </a:endParaRPr>
          </a:p>
        </p:txBody>
      </p:sp>
      <p:sp>
        <p:nvSpPr>
          <p:cNvPr id="75" name="Text Placeholder 32"/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4230688" y="1584325"/>
            <a:ext cx="149225" cy="212725"/>
          </a:xfrm>
          <a:prstGeom prst="rect">
            <a:avLst/>
          </a:prstGeom>
          <a:solidFill>
            <a:srgbClr val="DFE5EF"/>
          </a:solidFill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A85CEB2-2E9F-4CBB-B5BB-73A2FCB728B3}" type="datetime'''''''''''''''''''''''''''''''''5'''''''''''''''''">
              <a:rPr lang="en-US" sz="1400" b="0"/>
              <a:pPr/>
              <a:t>5</a:t>
            </a:fld>
            <a:endParaRPr lang="en-US" sz="1400" b="0" kern="0" dirty="0">
              <a:sym typeface="+mn-lt"/>
            </a:endParaRPr>
          </a:p>
        </p:txBody>
      </p:sp>
      <p:sp>
        <p:nvSpPr>
          <p:cNvPr id="76" name="Text Placeholder 31"/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3162300" y="1371600"/>
            <a:ext cx="247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b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C991C33-428E-4167-AF68-BC49ABC34C28}" type="datetime'5''''''''''''''''''''''''''''0'">
              <a:rPr lang="en-US" sz="1400" b="0"/>
              <a:pPr/>
              <a:t>50</a:t>
            </a:fld>
            <a:endParaRPr lang="en-US" sz="1400" b="0" kern="0" dirty="0">
              <a:sym typeface="+mn-lt"/>
            </a:endParaRPr>
          </a:p>
        </p:txBody>
      </p:sp>
      <p:sp>
        <p:nvSpPr>
          <p:cNvPr id="77" name="Text Placeholder 37"/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5824538" y="1819275"/>
            <a:ext cx="3063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b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CCF99FA-9C8C-479F-9F26-79DF6862BDD4}" type="datetime'''''-6''''''''''7'''''''''''''''''''''''''''''''''">
              <a:rPr lang="en-US" sz="1400" b="0"/>
              <a:pPr/>
              <a:t>-67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8" name="Text Placeholder 33"/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4029075" y="1371600"/>
            <a:ext cx="3063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b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A601C48-2785-4262-8891-A074BB025653}" type="datetime'''''''''''-''''3''''8'''''''''''''''''''''">
              <a:rPr lang="en-US" sz="1400" b="0"/>
              <a:pPr/>
              <a:t>-38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9" name="Text Placeholder 34"/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3983038" y="1703388"/>
            <a:ext cx="149225" cy="212725"/>
          </a:xfrm>
          <a:prstGeom prst="rect">
            <a:avLst/>
          </a:prstGeom>
          <a:solidFill>
            <a:srgbClr val="C3CFE1"/>
          </a:solidFill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DB183AA-A859-4C0A-AD51-4ABFE8A65D27}" type="datetime'''''''3'''''''''''''''''''''''''''''''''''">
              <a:rPr lang="en-US" sz="1400" b="0"/>
              <a:pPr/>
              <a:t>3</a:t>
            </a:fld>
            <a:endParaRPr lang="en-US" sz="1400" b="0" kern="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3795707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02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/m_precDefaultYear&gt;&lt;m_precDefaultQuarter&gt;&lt;m_bNumberIsYear val=&quot;0&quot;/&gt;&lt;m_strFormatTime&gt;Q%5&lt;/m_strFormatTime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m_strFormatTime&gt;%#d&lt;/m_strFormatTime&gt;&lt;/m_precDefaultDay&gt;&lt;m_mruColor&gt;&lt;m_vecMRU length=&quot;1&quot;&gt;&lt;elem m_fUsage=&quot;1.00000000000000000000E+000&quot;&gt;&lt;m_msothmcolidx val=&quot;0&quot;/&gt;&lt;m_rgb r=&quot;cf&quot; g=&quot;cf&quot; b=&quot;cf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k9NGcbskOyL6np9GPTi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c3GXFf2EKDNYRe4b.7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vq5iV_F0CCYdr6jsOj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6iMr5vfkWTt1s_To5Q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1ThLwk80idWkS3TzzEY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XWjQCBikKXfqWdlsyY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Ql10Jvk06igRq99UECO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cn8l.maUKbcSf.hx6a.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aEQef_r0yn1ZToJEN0A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AVLjZYP0CMLcR6kAUY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IDDONOTDELETE" val="H6EdDtx6u0C5EOXGQOn_yg"/>
  <p:tag name="THINKCELLSTATEDONOTDELETE" val="JybfW67J70eTncmI9DWav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Exi5FSZEOJig2MNlBSf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ZFTSp3aEugsT3Etalp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A03.rl5EGtia8MZnS9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s9UeGhXkG.marg34Kx1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R0RNCAJkeD3NW2rSk4p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kIChPtb0STbfGpc4gig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0C_1wHU0O.sq8BC4HV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yBTyVV7dJkO_SA.ZGwD20w"/>
  <p:tag name="THINKCELLIDDONOTDELETE" val="WImSoy1BGk2qeJ_gZBR4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apZ1n4fkuIEU51k6F2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evGHAdlEqToWJwrs7E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LR0XiPFUme965QNEgG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BHFudCgUWdaTZkLycGp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VvrcFBTkCzbN6dnRGiXQ"/>
</p:tagLst>
</file>

<file path=ppt/theme/theme1.xml><?xml version="1.0" encoding="utf-8"?>
<a:theme xmlns:a="http://schemas.openxmlformats.org/drawingml/2006/main" name="think-cell Master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FFFFFF"/>
      </a:accent1>
      <a:accent2>
        <a:srgbClr val="D8D8D8"/>
      </a:accent2>
      <a:accent3>
        <a:srgbClr val="FFFFFF"/>
      </a:accent3>
      <a:accent4>
        <a:srgbClr val="000000"/>
      </a:accent4>
      <a:accent5>
        <a:srgbClr val="FFFFFF"/>
      </a:accent5>
      <a:accent6>
        <a:srgbClr val="CCD3DA"/>
      </a:accent6>
      <a:hlink>
        <a:srgbClr val="BACCDE"/>
      </a:hlink>
      <a:folHlink>
        <a:srgbClr val="85A5C5"/>
      </a:folHlink>
    </a:clrScheme>
    <a:fontScheme name="Blank Pre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FFFF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</Words>
  <Application>Microsoft Office PowerPoint</Application>
  <PresentationFormat>Custom</PresentationFormat>
  <Paragraphs>8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think-cell Master</vt:lpstr>
      <vt:lpstr>think-cell Slide</vt:lpstr>
      <vt:lpstr>Chart</vt:lpstr>
      <vt:lpstr>Waterfall Char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11-29T17:10:17Z</dcterms:created>
  <dcterms:modified xsi:type="dcterms:W3CDTF">2013-11-29T17:10:25Z</dcterms:modified>
</cp:coreProperties>
</file>